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5.xml" ContentType="application/vnd.openxmlformats-officedocument.themeOverrid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sldIdLst>
    <p:sldId id="256" r:id="rId2"/>
    <p:sldId id="269" r:id="rId3"/>
    <p:sldId id="258" r:id="rId4"/>
    <p:sldId id="270" r:id="rId5"/>
    <p:sldId id="294" r:id="rId6"/>
    <p:sldId id="295" r:id="rId7"/>
    <p:sldId id="283" r:id="rId8"/>
    <p:sldId id="285" r:id="rId9"/>
    <p:sldId id="284" r:id="rId10"/>
    <p:sldId id="261" r:id="rId11"/>
  </p:sldIdLst>
  <p:sldSz cx="12192000" cy="6858000"/>
  <p:notesSz cx="6858000" cy="9144000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755E"/>
    <a:srgbClr val="1E3453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78" d="100"/>
          <a:sy n="78" d="100"/>
        </p:scale>
        <p:origin x="86" y="245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8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>
            <a:extLst>
              <a:ext uri="{FF2B5EF4-FFF2-40B4-BE49-F238E27FC236}">
                <a16:creationId xmlns:a16="http://schemas.microsoft.com/office/drawing/2014/main" id="{978B1EC3-4D1E-4EB1-BEFB-3E8703EEFC96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4D6B3D4-423C-4383-A1DC-741F23A3F489}"/>
              </a:ext>
            </a:extLst>
          </p:cNvPr>
          <p:cNvSpPr/>
          <p:nvPr userDrawn="1"/>
        </p:nvSpPr>
        <p:spPr>
          <a:xfrm>
            <a:off x="0" y="-2"/>
            <a:ext cx="12192000" cy="686778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11">
            <a:extLst>
              <a:ext uri="{FF2B5EF4-FFF2-40B4-BE49-F238E27FC236}">
                <a16:creationId xmlns:a16="http://schemas.microsoft.com/office/drawing/2014/main" id="{6AE5E61B-3C99-4910-9501-36BA9FC99506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BA10F15C-08CC-4803-BED6-1A19E4F26751}"/>
              </a:ext>
            </a:extLst>
          </p:cNvPr>
          <p:cNvSpPr>
            <a:spLocks/>
          </p:cNvSpPr>
          <p:nvPr userDrawn="1"/>
        </p:nvSpPr>
        <p:spPr bwMode="auto">
          <a:xfrm>
            <a:off x="0" y="140970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C0922505-EE2D-4160-BDDD-ED05F90268E9}"/>
              </a:ext>
            </a:extLst>
          </p:cNvPr>
          <p:cNvSpPr>
            <a:spLocks/>
          </p:cNvSpPr>
          <p:nvPr userDrawn="1"/>
        </p:nvSpPr>
        <p:spPr bwMode="auto">
          <a:xfrm>
            <a:off x="0" y="2759946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11B12D81-D140-4823-B240-25B48F1560DB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136497"/>
            <a:ext cx="10845800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232152"/>
            <a:ext cx="10845800" cy="887474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不完整圆 2">
            <a:extLst>
              <a:ext uri="{FF2B5EF4-FFF2-40B4-BE49-F238E27FC236}">
                <a16:creationId xmlns:a16="http://schemas.microsoft.com/office/drawing/2014/main" id="{9660664D-C6D2-4810-A5F9-F7A81F6DB66B}"/>
              </a:ext>
            </a:extLst>
          </p:cNvPr>
          <p:cNvSpPr/>
          <p:nvPr userDrawn="1"/>
        </p:nvSpPr>
        <p:spPr>
          <a:xfrm rot="10800000">
            <a:off x="9700986" y="6154763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弧形 13">
            <a:extLst>
              <a:ext uri="{FF2B5EF4-FFF2-40B4-BE49-F238E27FC236}">
                <a16:creationId xmlns:a16="http://schemas.microsoft.com/office/drawing/2014/main" id="{55C1BC0B-B3C8-49B1-B1C9-E68FD4D49042}"/>
              </a:ext>
            </a:extLst>
          </p:cNvPr>
          <p:cNvSpPr/>
          <p:nvPr userDrawn="1"/>
        </p:nvSpPr>
        <p:spPr>
          <a:xfrm rot="16200000">
            <a:off x="9287328" y="5742214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58E880A-DB73-49BA-8C6C-486DA1136812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29E4F6D-0847-4EDC-9282-5C7424418E7A}"/>
              </a:ext>
            </a:extLst>
          </p:cNvPr>
          <p:cNvSpPr/>
          <p:nvPr userDrawn="1"/>
        </p:nvSpPr>
        <p:spPr>
          <a:xfrm>
            <a:off x="0" y="0"/>
            <a:ext cx="12222162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8534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8546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Freeform 11">
            <a:extLst>
              <a:ext uri="{FF2B5EF4-FFF2-40B4-BE49-F238E27FC236}">
                <a16:creationId xmlns:a16="http://schemas.microsoft.com/office/drawing/2014/main" id="{24526C06-9180-4AA2-A337-97AF05C5B62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623077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8FB73EEF-0A8E-41C3-BC89-7097A3055D6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126162" y="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AEBB6B4B-B08E-4C0C-AD2F-44492330DDA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626577" y="0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9B0DEFD1-6512-4107-9860-B8C063E2FBC3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891087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" name="星形: 四角 2">
            <a:extLst>
              <a:ext uri="{FF2B5EF4-FFF2-40B4-BE49-F238E27FC236}">
                <a16:creationId xmlns:a16="http://schemas.microsoft.com/office/drawing/2014/main" id="{803DCD51-4C00-4158-B456-0121BC73FD6F}"/>
              </a:ext>
            </a:extLst>
          </p:cNvPr>
          <p:cNvSpPr/>
          <p:nvPr userDrawn="1"/>
        </p:nvSpPr>
        <p:spPr>
          <a:xfrm>
            <a:off x="675698" y="702371"/>
            <a:ext cx="626594" cy="626594"/>
          </a:xfrm>
          <a:prstGeom prst="star4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8/2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8/27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>
            <a:extLst>
              <a:ext uri="{FF2B5EF4-FFF2-40B4-BE49-F238E27FC236}">
                <a16:creationId xmlns:a16="http://schemas.microsoft.com/office/drawing/2014/main" id="{9014DB85-54DF-4983-96A9-293173F2BC56}"/>
              </a:ext>
            </a:extLst>
          </p:cNvPr>
          <p:cNvSpPr/>
          <p:nvPr userDrawn="1"/>
        </p:nvSpPr>
        <p:spPr>
          <a:xfrm>
            <a:off x="-1" y="724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8BA982E-6230-40B7-8EA9-8A1558CD29AB}"/>
              </a:ext>
            </a:extLst>
          </p:cNvPr>
          <p:cNvSpPr/>
          <p:nvPr userDrawn="1"/>
        </p:nvSpPr>
        <p:spPr>
          <a:xfrm>
            <a:off x="0" y="3837"/>
            <a:ext cx="12192000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3AC2B1D4-E172-466A-9834-92BB0DE6D837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FF8EF82D-499A-40FF-8C43-25683D7F3243}"/>
              </a:ext>
            </a:extLst>
          </p:cNvPr>
          <p:cNvGrpSpPr/>
          <p:nvPr userDrawn="1"/>
        </p:nvGrpSpPr>
        <p:grpSpPr>
          <a:xfrm>
            <a:off x="0" y="1409700"/>
            <a:ext cx="6065838" cy="5450882"/>
            <a:chOff x="0" y="1409700"/>
            <a:chExt cx="6065838" cy="545088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D38ACE5B-8997-4814-B1D4-756E3D5CB4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409700"/>
              <a:ext cx="6065838" cy="5448300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9205F680-BBB8-4037-B92C-C9B6CEF820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2759946"/>
              <a:ext cx="4565423" cy="4100636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rgbClr val="1E34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0" name="Freeform 11">
            <a:extLst>
              <a:ext uri="{FF2B5EF4-FFF2-40B4-BE49-F238E27FC236}">
                <a16:creationId xmlns:a16="http://schemas.microsoft.com/office/drawing/2014/main" id="{C94B6344-FE73-4125-8990-1CCF46599B70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不完整圆 10">
            <a:extLst>
              <a:ext uri="{FF2B5EF4-FFF2-40B4-BE49-F238E27FC236}">
                <a16:creationId xmlns:a16="http://schemas.microsoft.com/office/drawing/2014/main" id="{27D45CB3-D3E8-49C1-AD18-984B669955A8}"/>
              </a:ext>
            </a:extLst>
          </p:cNvPr>
          <p:cNvSpPr/>
          <p:nvPr userDrawn="1"/>
        </p:nvSpPr>
        <p:spPr>
          <a:xfrm>
            <a:off x="1170215" y="-718230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弧形 11">
            <a:extLst>
              <a:ext uri="{FF2B5EF4-FFF2-40B4-BE49-F238E27FC236}">
                <a16:creationId xmlns:a16="http://schemas.microsoft.com/office/drawing/2014/main" id="{F0AC4181-13AD-46AE-B4AA-26505246DCAA}"/>
              </a:ext>
            </a:extLst>
          </p:cNvPr>
          <p:cNvSpPr/>
          <p:nvPr userDrawn="1"/>
        </p:nvSpPr>
        <p:spPr>
          <a:xfrm rot="5400000">
            <a:off x="756557" y="-1119893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235461" y="2143121"/>
            <a:ext cx="5930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235461" y="4449357"/>
            <a:ext cx="5930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5463" y="4153086"/>
            <a:ext cx="5930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8/27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fsXTDJ8rpx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8.20-8.27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暑假阶段学习总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2021/8/20</a:t>
            </a:r>
            <a:endParaRPr lang="en-US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2021/8/28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677436" cy="4083608"/>
            <a:chOff x="757282" y="1700808"/>
            <a:chExt cx="10677436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677436" cy="4083608"/>
              <a:chOff x="1175743" y="1700808"/>
              <a:chExt cx="10262310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739758" y="1779399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Bitset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Trie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bitset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FA2802CA-C860-4693-A054-D292B28C16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134987"/>
            <a:ext cx="9833504" cy="499918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67957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DFF47A-8060-4F0F-9A0F-C8E4FE4AD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latinLnBrk="1"/>
            <a:r>
              <a:rPr lang="en-US" altLang="zh-CN" b="1" i="0" dirty="0">
                <a:solidFill>
                  <a:srgbClr val="222226"/>
                </a:solidFill>
                <a:effectLst/>
                <a:latin typeface="PingFang SC"/>
              </a:rPr>
              <a:t>Strange Bulbs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4E67518-730E-4132-9624-2605156AF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081B0D7-5A64-4209-A023-B856CFB39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FCEE37D-23D7-4C21-A2EC-3BE45E8451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3308" y="1184403"/>
            <a:ext cx="9345477" cy="448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7079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7E01F3-3183-4F9F-A812-C6642ADC9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B753CC3-ECF1-490E-9CA3-E1230FC5A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ED40503-B14C-482D-8F1B-AE69FF50C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1D8BA22A-044E-48E0-BD96-6050FBC93F28}"/>
              </a:ext>
            </a:extLst>
          </p:cNvPr>
          <p:cNvSpPr txBox="1"/>
          <p:nvPr/>
        </p:nvSpPr>
        <p:spPr>
          <a:xfrm>
            <a:off x="669924" y="155564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27977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Tri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8118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D78E1F31-F597-449B-90FE-23DDF0095D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563" y="1418800"/>
            <a:ext cx="10295250" cy="50889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52444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3CA3AC-3A96-4587-B5D0-9F516E6E8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zh-CN" altLang="en-US" dirty="0">
                <a:solidFill>
                  <a:srgbClr val="4F4F4F"/>
                </a:solidFill>
                <a:latin typeface="PingFang SC"/>
              </a:rPr>
              <a:t>题目清单</a:t>
            </a:r>
            <a:endParaRPr lang="en-US" altLang="zh-CN" b="1" i="0" dirty="0">
              <a:solidFill>
                <a:srgbClr val="4F4F4F"/>
              </a:solidFill>
              <a:effectLst/>
              <a:latin typeface="PingFang SC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E4B73C2-7C45-4C78-816C-145B0744B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3026F0E-348D-4476-AC2C-AE4130EF8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2C40EED5-A81D-490C-835E-2783B3742C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7053" y="2120616"/>
            <a:ext cx="8714947" cy="1790855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F19D7694-36F1-486E-AE7D-C0C4880B21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942" y="1281055"/>
            <a:ext cx="2602723" cy="4707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4340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1279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D3453"/>
      </a:accent1>
      <a:accent2>
        <a:srgbClr val="5FCFBF"/>
      </a:accent2>
      <a:accent3>
        <a:srgbClr val="B1B1B1"/>
      </a:accent3>
      <a:accent4>
        <a:srgbClr val="9D9D9D"/>
      </a:accent4>
      <a:accent5>
        <a:srgbClr val="727272"/>
      </a:accent5>
      <a:accent6>
        <a:srgbClr val="616161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4</TotalTime>
  <Words>67</Words>
  <Application>Microsoft Office PowerPoint</Application>
  <PresentationFormat>宽屏</PresentationFormat>
  <Paragraphs>32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6" baseType="lpstr">
      <vt:lpstr>PingFang SC</vt:lpstr>
      <vt:lpstr>Arial</vt:lpstr>
      <vt:lpstr>Calibri</vt:lpstr>
      <vt:lpstr>Impact</vt:lpstr>
      <vt:lpstr>主题5</vt:lpstr>
      <vt:lpstr>think-cell Slide</vt:lpstr>
      <vt:lpstr>暑假阶段学习总结</vt:lpstr>
      <vt:lpstr>PowerPoint 演示文稿</vt:lpstr>
      <vt:lpstr>bitset</vt:lpstr>
      <vt:lpstr>一篇博客</vt:lpstr>
      <vt:lpstr>Strange Bulbs</vt:lpstr>
      <vt:lpstr>代码</vt:lpstr>
      <vt:lpstr>Trie</vt:lpstr>
      <vt:lpstr>一篇博客</vt:lpstr>
      <vt:lpstr>题目清单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刘 思远</cp:lastModifiedBy>
  <cp:revision>21</cp:revision>
  <cp:lastPrinted>2018-08-20T16:00:00Z</cp:lastPrinted>
  <dcterms:created xsi:type="dcterms:W3CDTF">2018-08-20T16:00:00Z</dcterms:created>
  <dcterms:modified xsi:type="dcterms:W3CDTF">2021-08-27T02:3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